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4"/>
    <p:sldMasterId id="2147483736" r:id="rId5"/>
  </p:sldMasterIdLst>
  <p:notesMasterIdLst>
    <p:notesMasterId r:id="rId12"/>
  </p:notesMasterIdLst>
  <p:sldIdLst>
    <p:sldId id="297" r:id="rId6"/>
    <p:sldId id="299" r:id="rId7"/>
    <p:sldId id="303" r:id="rId8"/>
    <p:sldId id="306" r:id="rId9"/>
    <p:sldId id="305" r:id="rId10"/>
    <p:sldId id="304" r:id="rId11"/>
  </p:sldIdLst>
  <p:sldSz cx="9144000" cy="6858000" type="screen4x3"/>
  <p:notesSz cx="6735763" cy="9866313"/>
  <p:custDataLst>
    <p:tags r:id="rId13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9900"/>
    <a:srgbClr val="00FF00"/>
    <a:srgbClr val="33CC33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5381" autoAdjust="0"/>
    <p:restoredTop sz="94671" autoAdjust="0"/>
  </p:normalViewPr>
  <p:slideViewPr>
    <p:cSldViewPr>
      <p:cViewPr varScale="1">
        <p:scale>
          <a:sx n="78" d="100"/>
          <a:sy n="78" d="100"/>
        </p:scale>
        <p:origin x="203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5B032FCC-474C-4FFB-A28D-3A53712E4529}"/>
    <pc:docChg chg="modSld">
      <pc:chgData name="Konstantin Glukhenkiy" userId="24b49d37-c936-4e44-8fab-4bfac34f62f4" providerId="ADAL" clId="{5B032FCC-474C-4FFB-A28D-3A53712E4529}" dt="2022-10-25T17:15:21.027" v="4" actId="6549"/>
      <pc:docMkLst>
        <pc:docMk/>
      </pc:docMkLst>
      <pc:sldChg chg="modSp mod">
        <pc:chgData name="Konstantin Glukhenkiy" userId="24b49d37-c936-4e44-8fab-4bfac34f62f4" providerId="ADAL" clId="{5B032FCC-474C-4FFB-A28D-3A53712E4529}" dt="2022-10-25T17:15:21.027" v="4" actId="6549"/>
        <pc:sldMkLst>
          <pc:docMk/>
          <pc:sldMk cId="4034798416" sldId="297"/>
        </pc:sldMkLst>
        <pc:spChg chg="mod">
          <ac:chgData name="Konstantin Glukhenkiy" userId="24b49d37-c936-4e44-8fab-4bfac34f62f4" providerId="ADAL" clId="{5B032FCC-474C-4FFB-A28D-3A53712E4529}" dt="2022-10-25T17:15:21.027" v="4" actId="6549"/>
          <ac:spMkLst>
            <pc:docMk/>
            <pc:sldMk cId="4034798416" sldId="297"/>
            <ac:spMk id="9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22/10/2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3950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3" tIns="45702" rIns="91403" bIns="45702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03" tIns="45702" rIns="91403" bIns="45702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174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3" imgH="493" progId="TCLayout.ActiveDocument.1">
                  <p:embed/>
                </p:oleObj>
              </mc:Choice>
              <mc:Fallback>
                <p:oleObj name="think-cell Folie" r:id="rId3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kumimoji="1" lang="de-DE" altLang="ja-JP" dirty="0"/>
              <a:t>T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65CBD4-C66F-431E-B836-DCF278A8B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446FD-D62F-4F2E-8C6A-9DABF211BB28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388D27-7DA9-4E8E-8C8E-5FE56B73C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E9175B-9599-4809-B109-13100F814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FF80994B-BD69-4154-A1EC-62EF1D3890C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2334" y="1148259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 (1/2)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pplicability of R10 to charge cables; considering eliminating differential treatment of mode 2 cables supplied  with the vehicle and those purchased as after Market.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larify which tests are performed while vehicle is connected to power grid for charging</a:t>
            </a:r>
          </a:p>
          <a:p>
            <a:pPr marL="457200" lvl="1" indent="0">
              <a:buNone/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A workshop (specific working session) is planned with interested participants of IWG EMC.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VAS: 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sion of a dedicated test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nd defin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solidFill>
                  <a:srgbClr val="FF0000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est criteria. 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D: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is is an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mportant topic for 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many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som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Contracting Parties but mayb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onsidered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 for a future 08 series of UN R10. However, NL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would prefer to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de it into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07 series. 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strike="sngStrike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2000" strike="sngStrike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all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: there is a need to understand how an </a:t>
            </a:r>
            <a:r>
              <a:rPr lang="en-US" sz="1800" strike="sngStrike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1800" strike="sngStrike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ll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really perform</a:t>
            </a:r>
            <a:r>
              <a:rPr lang="en-US" sz="1800" strike="sngStrike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Some Contracting Parties suggested </a:t>
            </a:r>
            <a:r>
              <a:rPr lang="en-US" sz="1800" strike="sngStrike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Call: A test method and  acceptance criteria to be added but  there is no agreement on the test details. Some Contracting Parties suggested </a:t>
            </a:r>
            <a:r>
              <a:rPr lang="en-US" sz="1800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  <a:endParaRPr lang="en-US" sz="2000" dirty="0">
              <a:solidFill>
                <a:srgbClr val="0000FF"/>
              </a:solidFill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1D24322C-8B7F-4376-883C-68E8B31D1DA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80825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3417619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93" imgH="493" progId="TCLayout.ActiveDocument.1">
                  <p:embed/>
                </p:oleObj>
              </mc:Choice>
              <mc:Fallback>
                <p:oleObj name="think-cell Folie" r:id="rId6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22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2C72D0-DCA7-4054-B7FB-ECF0995D4C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E67D44-F4B6-4BFF-A5A7-6361373B3B16}" type="datetimeFigureOut">
              <a:rPr lang="de-DE" smtClean="0"/>
              <a:t>25.10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B11A02-0BEC-4245-9439-55886C3775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1655826-6689-4876-A84F-6B3E90A02D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2A29F9-93F0-40FB-A073-0921A785C5A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9AF724C6-57FA-482D-9AFB-E4217BD1F42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75035" y="241363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  <p:sp>
        <p:nvSpPr>
          <p:cNvPr id="9" name="Text Box 4">
            <a:extLst>
              <a:ext uri="{FF2B5EF4-FFF2-40B4-BE49-F238E27FC236}">
                <a16:creationId xmlns:a16="http://schemas.microsoft.com/office/drawing/2014/main" id="{D35D5B08-CA7C-4CAE-96EA-0D09423EC0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6471" y="1138616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 (1/2)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pplicability of R10 to charge cables; considering eliminating differential treatment of mode 2 cables supplied  with the vehicle and those purchased as after Market.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larify which tests are performed while vehicle is connected to power grid for charging</a:t>
            </a:r>
          </a:p>
          <a:p>
            <a:pPr marL="457200" lvl="1" indent="0">
              <a:buNone/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A workshop (specific working session) is planned with interested participants of IWG EMC.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VAS: 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sion of a dedicated test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nd defin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solidFill>
                  <a:srgbClr val="FF0000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est criteria. 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D: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is is an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mportant topic for 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many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som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Contracting Parties but mayb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onsidered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 for a future 08 series of UN R10. However, NL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would prefer to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de it into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07 series. 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strike="sngStrike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2000" strike="sngStrike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all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: there is a need to understand how an </a:t>
            </a:r>
            <a:r>
              <a:rPr lang="en-US" sz="1800" strike="sngStrike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1800" strike="sngStrike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ll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really perform</a:t>
            </a:r>
            <a:r>
              <a:rPr lang="en-US" sz="1800" strike="sngStrike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Some Contracting Parties suggested </a:t>
            </a:r>
            <a:r>
              <a:rPr lang="en-US" sz="1800" strike="sngStrike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Call: A test method and  acceptance criteria to be added but  there is no agreement on the test details. Some Contracting Parties suggested </a:t>
            </a:r>
            <a:r>
              <a:rPr lang="en-US" sz="1800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  <a:endParaRPr lang="en-US" sz="2000" dirty="0">
              <a:solidFill>
                <a:srgbClr val="0000FF"/>
              </a:solidFill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911361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364088" y="116632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formal document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GRE-87-21</a:t>
            </a:r>
            <a:endParaRPr lang="en-US" sz="12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87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RE, 25-28 October 2022 </a:t>
            </a: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genda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tem 8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ZoneTexte 3"/>
          <p:cNvSpPr txBox="1"/>
          <p:nvPr/>
        </p:nvSpPr>
        <p:spPr>
          <a:xfrm>
            <a:off x="221020" y="162798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s of IWG EMC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268760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on Electromagnetic Compatibility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latin typeface="Arial" panose="020B0604020202020204" pitchFamily="34" charset="0"/>
                <a:cs typeface="Arial" panose="020B0604020202020204" pitchFamily="34" charset="0"/>
              </a:rPr>
              <a:t>(IWG EMC)</a:t>
            </a:r>
            <a:br>
              <a:rPr lang="en-GB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87</a:t>
            </a:r>
            <a:b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October</a:t>
            </a: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</a:t>
            </a:r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98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 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cs typeface="Arial" panose="020B0604020202020204" pitchFamily="34" charset="0"/>
              </a:rPr>
              <a:t>New agreed requirements since April 2022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cs typeface="Arial" panose="020B0604020202020204" pitchFamily="34" charset="0"/>
              </a:rPr>
              <a:t>Implementation of AVAS (test conditions &amp; failure criteria) as immunity related function in Annex 6, paragraph 2.1.1.2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cs typeface="Arial" panose="020B0604020202020204" pitchFamily="34" charset="0"/>
              </a:rPr>
              <a:t>For long (12m) / wide (2.6m) / high (4m) vehicle additional reference points shall be chosen in Annex 6, paragraph 3.4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cs typeface="Arial" panose="020B0604020202020204" pitchFamily="34" charset="0"/>
              </a:rPr>
              <a:t>Frequency range up to to 6GHz in Annex 6, paragraph 1.3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1305237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(1/2): </a:t>
            </a: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A charging cables: Draft of a table with a defined test procedure for charging modes and the corresponding annexes. A conducted survey among CPs for best practices will contribute to the finalization. 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Call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: Guidance was received by GRSG and will contribute to the discussion for the next working group meeting. Further specification of the wording will be the focus.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REESS test procedure: For the input current, there is no agreement regarding test parameters yet (16A or 20A)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3134396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(2/2): </a:t>
            </a: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lternative test methods for long, wide, or high vehicles are under development with the goal to be able to test long/wide/high vehicles in a more environment-independent manner.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Market surveillance: A study presented by JRC shows new emission-relevant findings in relation to speed profiles. The working group welcomes further information and insights as the study progresses.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17815375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future 08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for decision: </a:t>
            </a: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D: Due to the time constraint, the majority of the CPs (78%) has the position that the subject of ESD should be dealt with in the 08 series of amendments.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1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mmunity below 20 MHz: The majority of the CPs (89%) support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the position that the frequency extension below 20 MHz should not be introduced in the 07 series of amendments, because further justifications are necessary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11531664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Future planning and outlook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cs typeface="Arial" panose="020B0604020202020204" pitchFamily="34" charset="0"/>
              </a:rPr>
              <a:t>Next IWG session on the 9th of November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cs typeface="Arial" panose="020B0604020202020204" pitchFamily="34" charset="0"/>
              </a:rPr>
              <a:t>Prepare the final draft of the 07 series of amendments as a working document for the 88</a:t>
            </a:r>
            <a:r>
              <a:rPr lang="en-US" sz="2400" baseline="30000" dirty="0">
                <a:cs typeface="Arial" panose="020B0604020202020204" pitchFamily="34" charset="0"/>
              </a:rPr>
              <a:t>th </a:t>
            </a:r>
            <a:r>
              <a:rPr lang="en-US" sz="2400" dirty="0">
                <a:cs typeface="Arial" panose="020B0604020202020204" pitchFamily="34" charset="0"/>
              </a:rPr>
              <a:t>session of GRE by end of January 2023.</a:t>
            </a:r>
          </a:p>
          <a:p>
            <a:pPr>
              <a:spcAft>
                <a:spcPts val="1200"/>
              </a:spcAft>
            </a:pPr>
            <a:endParaRPr lang="en-US" sz="2400" dirty="0"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432826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3CD3674-38FB-4E37-8197-8F6E091D4A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EBBAD6-1CA3-4FD1-B62B-2F0AABDF3EF0}">
  <ds:schemaRefs>
    <ds:schemaRef ds:uri="http://purl.org/dc/terms/"/>
    <ds:schemaRef ds:uri="http://schemas.microsoft.com/office/2006/documentManagement/types"/>
    <ds:schemaRef ds:uri="http://purl.org/dc/elements/1.1/"/>
    <ds:schemaRef ds:uri="acccb6d4-dbe5-46d2-b4d3-5733603d8cc6"/>
    <ds:schemaRef ds:uri="http://schemas.microsoft.com/office/2006/metadata/properties"/>
    <ds:schemaRef ds:uri="http://purl.org/dc/dcmitype/"/>
    <ds:schemaRef ds:uri="4b4a1c0d-4a69-4996-a84a-fc699b9f49de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985ec44e-1bab-4c0b-9df0-6ba128686fc9"/>
  </ds:schemaRefs>
</ds:datastoreItem>
</file>

<file path=customXml/itemProps3.xml><?xml version="1.0" encoding="utf-8"?>
<ds:datastoreItem xmlns:ds="http://schemas.openxmlformats.org/officeDocument/2006/customXml" ds:itemID="{F68CFE50-A051-4E44-B7DA-948A225AE1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2</Words>
  <Application>Microsoft Office PowerPoint</Application>
  <PresentationFormat>On-screen Show (4:3)</PresentationFormat>
  <Paragraphs>42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Times New Roman</vt:lpstr>
      <vt:lpstr>Office ​​テーマ</vt:lpstr>
      <vt:lpstr>Benutzerdefiniertes Design</vt:lpstr>
      <vt:lpstr>think-cell Folie</vt:lpstr>
      <vt:lpstr>IWG on Electromagnetic Compatibility (IWG EMC) Status report to GRE-87 October 2022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secretariat</cp:lastModifiedBy>
  <cp:revision>528</cp:revision>
  <cp:lastPrinted>2022-04-12T01:08:27Z</cp:lastPrinted>
  <dcterms:created xsi:type="dcterms:W3CDTF">2014-08-07T00:59:03Z</dcterms:created>
  <dcterms:modified xsi:type="dcterms:W3CDTF">2022-10-25T17:1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SetDate">
    <vt:lpwstr>2021-02-11T07:47:10Z</vt:lpwstr>
  </property>
  <property fmtid="{D5CDD505-2E9C-101B-9397-08002B2CF9AE}" pid="5" name="MSIP_Label_2fd53d93-3f4c-4b90-b511-bd6bdbb4fba9_Method">
    <vt:lpwstr>Standard</vt:lpwstr>
  </property>
  <property fmtid="{D5CDD505-2E9C-101B-9397-08002B2CF9AE}" pid="6" name="MSIP_Label_2fd53d93-3f4c-4b90-b511-bd6bdbb4fba9_Name">
    <vt:lpwstr>2fd53d93-3f4c-4b90-b511-bd6bdbb4fba9</vt:lpwstr>
  </property>
  <property fmtid="{D5CDD505-2E9C-101B-9397-08002B2CF9AE}" pid="7" name="MSIP_Label_2fd53d93-3f4c-4b90-b511-bd6bdbb4fba9_SiteId">
    <vt:lpwstr>d852d5cd-724c-4128-8812-ffa5db3f8507</vt:lpwstr>
  </property>
  <property fmtid="{D5CDD505-2E9C-101B-9397-08002B2CF9AE}" pid="8" name="MSIP_Label_2fd53d93-3f4c-4b90-b511-bd6bdbb4fba9_ActionId">
    <vt:lpwstr>862f2ed1-b439-4e8f-a5fb-009d67eae554</vt:lpwstr>
  </property>
  <property fmtid="{D5CDD505-2E9C-101B-9397-08002B2CF9AE}" pid="9" name="MSIP_Label_2fd53d93-3f4c-4b90-b511-bd6bdbb4fba9_ContentBits">
    <vt:lpwstr>0</vt:lpwstr>
  </property>
  <property fmtid="{D5CDD505-2E9C-101B-9397-08002B2CF9AE}" pid="10" name="ContentTypeId">
    <vt:lpwstr>0x0101003B8422D08C252547BB1CFA7F78E2CB83</vt:lpwstr>
  </property>
  <property fmtid="{D5CDD505-2E9C-101B-9397-08002B2CF9AE}" pid="11" name="MSIP_Label_7f30fc12-c89a-4829-a476-5bf9e2086332_Enabled">
    <vt:lpwstr>true</vt:lpwstr>
  </property>
  <property fmtid="{D5CDD505-2E9C-101B-9397-08002B2CF9AE}" pid="12" name="MSIP_Label_7f30fc12-c89a-4829-a476-5bf9e2086332_SetDate">
    <vt:lpwstr>2022-04-01T11:53:19Z</vt:lpwstr>
  </property>
  <property fmtid="{D5CDD505-2E9C-101B-9397-08002B2CF9AE}" pid="13" name="MSIP_Label_7f30fc12-c89a-4829-a476-5bf9e2086332_Method">
    <vt:lpwstr>Privileged</vt:lpwstr>
  </property>
  <property fmtid="{D5CDD505-2E9C-101B-9397-08002B2CF9AE}" pid="14" name="MSIP_Label_7f30fc12-c89a-4829-a476-5bf9e2086332_Name">
    <vt:lpwstr>Not protected (Anyone)_0</vt:lpwstr>
  </property>
  <property fmtid="{D5CDD505-2E9C-101B-9397-08002B2CF9AE}" pid="15" name="MSIP_Label_7f30fc12-c89a-4829-a476-5bf9e2086332_SiteId">
    <vt:lpwstr>d6b0bbee-7cd9-4d60-bce6-4a67b543e2ae</vt:lpwstr>
  </property>
  <property fmtid="{D5CDD505-2E9C-101B-9397-08002B2CF9AE}" pid="16" name="MSIP_Label_7f30fc12-c89a-4829-a476-5bf9e2086332_ActionId">
    <vt:lpwstr>5aeabe18-2baf-4ad6-a3a6-0075c4e1c5f5</vt:lpwstr>
  </property>
  <property fmtid="{D5CDD505-2E9C-101B-9397-08002B2CF9AE}" pid="17" name="MSIP_Label_7f30fc12-c89a-4829-a476-5bf9e2086332_ContentBits">
    <vt:lpwstr>0</vt:lpwstr>
  </property>
  <property fmtid="{D5CDD505-2E9C-101B-9397-08002B2CF9AE}" pid="19" name="MediaServiceImageTags">
    <vt:lpwstr/>
  </property>
  <property fmtid="{D5CDD505-2E9C-101B-9397-08002B2CF9AE}" pid="20" name="gba66df640194346a5267c50f24d4797">
    <vt:lpwstr/>
  </property>
  <property fmtid="{D5CDD505-2E9C-101B-9397-08002B2CF9AE}" pid="21" name="Office_x0020_of_x0020_Origin">
    <vt:lpwstr/>
  </property>
  <property fmtid="{D5CDD505-2E9C-101B-9397-08002B2CF9AE}" pid="22" name="Office of Origin">
    <vt:lpwstr/>
  </property>
</Properties>
</file>